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7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51</cx:f>
        <cx:lvl ptCount="50">
          <cx:pt idx="0">Category 1</cx:pt>
          <cx:pt idx="1">Category 3</cx:pt>
          <cx:pt idx="2">Category 1</cx:pt>
          <cx:pt idx="3">Category 2</cx:pt>
          <cx:pt idx="4">Category 4</cx:pt>
          <cx:pt idx="5">Category 1</cx:pt>
          <cx:pt idx="6">Category 4</cx:pt>
          <cx:pt idx="7">Category 3</cx:pt>
          <cx:pt idx="8">Category 4</cx:pt>
          <cx:pt idx="9">Category 1</cx:pt>
          <cx:pt idx="10">Category 2</cx:pt>
          <cx:pt idx="11">Category 4</cx:pt>
          <cx:pt idx="12">Category 4</cx:pt>
          <cx:pt idx="13">Category 2</cx:pt>
          <cx:pt idx="14">Category 1</cx:pt>
          <cx:pt idx="15">Category 1</cx:pt>
          <cx:pt idx="16">Category 1</cx:pt>
          <cx:pt idx="17">Category 4</cx:pt>
          <cx:pt idx="18">Category 4</cx:pt>
          <cx:pt idx="19">Category 4</cx:pt>
          <cx:pt idx="20">Category 1</cx:pt>
          <cx:pt idx="21">Category 1</cx:pt>
          <cx:pt idx="22">Category 4</cx:pt>
          <cx:pt idx="23">Category 1</cx:pt>
          <cx:pt idx="24">Category 1</cx:pt>
          <cx:pt idx="25">Category 4</cx:pt>
          <cx:pt idx="26">Category 1</cx:pt>
          <cx:pt idx="27">Category 4</cx:pt>
          <cx:pt idx="28">Category 4</cx:pt>
          <cx:pt idx="29">Category 4</cx:pt>
          <cx:pt idx="30">Category 4</cx:pt>
          <cx:pt idx="31">Category 2</cx:pt>
          <cx:pt idx="32">Category 4</cx:pt>
          <cx:pt idx="33">Category 1</cx:pt>
          <cx:pt idx="34">Category 4</cx:pt>
          <cx:pt idx="35">Category 1</cx:pt>
          <cx:pt idx="36">Category 4</cx:pt>
          <cx:pt idx="37">Category 2</cx:pt>
          <cx:pt idx="38">Category 4</cx:pt>
          <cx:pt idx="39">Category 3</cx:pt>
          <cx:pt idx="40">Category 4</cx:pt>
          <cx:pt idx="41">Category 4</cx:pt>
          <cx:pt idx="42">Category 2</cx:pt>
          <cx:pt idx="43">Category 4</cx:pt>
          <cx:pt idx="44">Category 1</cx:pt>
          <cx:pt idx="45">Category 1</cx:pt>
          <cx:pt idx="46">Category 1</cx:pt>
          <cx:pt idx="47">Category 2</cx:pt>
          <cx:pt idx="48">Category 4</cx:pt>
          <cx:pt idx="49">Category 4</cx:pt>
        </cx:lvl>
      </cx:strDim>
      <cx:numDim type="val">
        <cx:f>Sheet1!$B$2:$B$51</cx:f>
        <cx:lvl ptCount="50" formatCode="General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0">1</cx:pt>
          <cx:pt idx="11">1</cx:pt>
          <cx:pt idx="12">1</cx:pt>
          <cx:pt idx="13">1</cx:pt>
          <cx:pt idx="14">1</cx:pt>
          <cx:pt idx="15">1</cx:pt>
          <cx:pt idx="16">1</cx:pt>
          <cx:pt idx="17">1</cx:pt>
          <cx:pt idx="18">1</cx:pt>
          <cx:pt idx="19">1</cx:pt>
          <cx:pt idx="20">1</cx:pt>
          <cx:pt idx="21">1</cx:pt>
          <cx:pt idx="22">1</cx:pt>
          <cx:pt idx="23">1</cx:pt>
          <cx:pt idx="24">1</cx:pt>
          <cx:pt idx="25">1</cx:pt>
          <cx:pt idx="26">1</cx:pt>
          <cx:pt idx="27">1</cx:pt>
          <cx:pt idx="28">1</cx:pt>
          <cx:pt idx="29">1</cx:pt>
          <cx:pt idx="30">1</cx:pt>
          <cx:pt idx="31">1</cx:pt>
          <cx:pt idx="32">1</cx:pt>
          <cx:pt idx="33">1</cx:pt>
          <cx:pt idx="34">1</cx:pt>
          <cx:pt idx="35">1</cx:pt>
          <cx:pt idx="36">1</cx:pt>
          <cx:pt idx="37">1</cx:pt>
          <cx:pt idx="38">1</cx:pt>
          <cx:pt idx="39">1</cx:pt>
          <cx:pt idx="40">1</cx:pt>
          <cx:pt idx="41">1</cx:pt>
          <cx:pt idx="42">1</cx:pt>
          <cx:pt idx="43">1</cx:pt>
          <cx:pt idx="44">1</cx:pt>
          <cx:pt idx="45">1</cx:pt>
          <cx:pt idx="46">1</cx:pt>
          <cx:pt idx="47">1</cx:pt>
          <cx:pt idx="48">1</cx:pt>
          <cx:pt idx="49">1</cx:pt>
        </cx:lvl>
      </cx:numDim>
    </cx:data>
  </cx:chartData>
  <cx:chart>
    <cx:plotArea>
      <cx:plotAreaRegion>
        <cx:series layoutId="clusteredColumn" uniqueId="{3A98C0CC-4A38-440E-88E8-B2C82C44152B}">
          <cx:tx>
            <cx:txData>
              <cx:f>Sheet1!$B$1</cx:f>
              <cx:v>Series1</cx:v>
            </cx:txData>
          </cx:tx>
          <cx:dataId val="0"/>
          <cx:layoutPr>
            <cx:aggregation/>
          </cx:layoutPr>
          <cx:axisId val="1"/>
        </cx:series>
        <cx:series layoutId="paretoLine" ownerIdx="0" uniqueId="{AF14A3BA-43DC-4273-8B62-5AB8B4DECBE4}">
          <cx:axisId val="2"/>
        </cx:series>
      </cx:plotAreaRegion>
      <cx:axis id="0">
        <cx:catScaling gapWidth="0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majorGridlines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2">
        <cx:valScaling max="1" min="0"/>
        <cx:units unit="percentage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6" Type="http://schemas.openxmlformats.org/officeDocument/2006/relationships/image" Target="../media/image31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B95617-57D6-7EB2-D3F8-87BB27B7D0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6CD341C-9835-8395-9D90-F7901D9033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D341C-9835-8395-9D90-F7901D9033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7EC73891-D46F-E34D-262E-2253E2708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istogram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0D934A5-9FEA-258A-D0E3-CA3B5BBCC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D780A88D-6391-E802-4B05-B3394626C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0D92F09-D497-5D21-D208-7901A4FE2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4" name="Chart Placeholder 13">
                <a:extLst>
                  <a:ext uri="{FF2B5EF4-FFF2-40B4-BE49-F238E27FC236}">
                    <a16:creationId xmlns:a16="http://schemas.microsoft.com/office/drawing/2014/main" id="{8527360A-9401-0C4C-2EB7-AEB1F38B973A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11083925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14" name="Chart Placeholder 13">
                <a:extLst>
                  <a:ext uri="{FF2B5EF4-FFF2-40B4-BE49-F238E27FC236}">
                    <a16:creationId xmlns:a16="http://schemas.microsoft.com/office/drawing/2014/main" id="{8527360A-9401-0C4C-2EB7-AEB1F38B973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11083925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635717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5</TotalTime>
  <Words>13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Histogra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63</cp:revision>
  <dcterms:created xsi:type="dcterms:W3CDTF">2025-07-09T10:57:17Z</dcterms:created>
  <dcterms:modified xsi:type="dcterms:W3CDTF">2025-10-22T09:49:48Z</dcterms:modified>
  <cp:category/>
</cp:coreProperties>
</file>